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vml" ContentType="application/vnd.openxmlformats-officedocument.vmlDrawi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embeddings/oleObject1.bin" ContentType="application/vnd.openxmlformats-officedocument.oleObject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embeddings/oleObject2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embeddings/oleObject3.bin" ContentType="application/vnd.openxmlformats-officedocument.oleObject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embeddings/oleObject4.bin" ContentType="application/vnd.openxmlformats-officedocument.oleObject"/>
  <Override PartName="/ppt/embeddings/oleObject5.bin" ContentType="application/vnd.openxmlformats-officedocument.oleObject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6.bin" ContentType="application/vnd.openxmlformats-officedocument.oleObject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4"/>
  </p:notesMasterIdLst>
  <p:handoutMasterIdLst>
    <p:handoutMasterId r:id="rId5"/>
  </p:handoutMasterIdLst>
  <p:sldIdLst>
    <p:sldId id="259" r:id="rId3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58" d="100"/>
          <a:sy n="58" d="100"/>
        </p:scale>
        <p:origin x="-136" y="-6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4" Type="http://schemas.openxmlformats.org/officeDocument/2006/relationships/notesMaster" Target="notesMasters/notesMaster1.xml"/><Relationship Id="rId5" Type="http://schemas.openxmlformats.org/officeDocument/2006/relationships/handoutMaster" Target="handoutMasters/handoutMaster1.xml"/><Relationship Id="rId6" Type="http://schemas.openxmlformats.org/officeDocument/2006/relationships/printerSettings" Target="printerSettings/printerSettings1.bin"/><Relationship Id="rId7" Type="http://schemas.openxmlformats.org/officeDocument/2006/relationships/presProps" Target="presProps.xml"/><Relationship Id="rId8" Type="http://schemas.openxmlformats.org/officeDocument/2006/relationships/viewProps" Target="viewProps.xml"/><Relationship Id="rId9" Type="http://schemas.openxmlformats.org/officeDocument/2006/relationships/theme" Target="theme/theme1.xml"/><Relationship Id="rId1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65" cy="495367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626" y="0"/>
            <a:ext cx="2919565" cy="495367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34E2EC11-9E46-4164-AA74-16128A345506}" type="datetimeFigureOut">
              <a:rPr lang="en-US" smtClean="0"/>
              <a:t>21/0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0947"/>
            <a:ext cx="2919565" cy="495367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626" y="9370947"/>
            <a:ext cx="2919565" cy="495367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2EBFA4EE-B6B7-43A4-B2F1-4D63C9E0D8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111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850D80B5-F4DB-4DD4-9B43-8A6EF82E0056}" type="datetimeFigureOut">
              <a:rPr lang="en-IN" smtClean="0"/>
              <a:t>21/06/2016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98B38A2C-A8E8-4DA2-AD92-D35A23E4B7FB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71662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4" Type="http://schemas.openxmlformats.org/officeDocument/2006/relationships/tags" Target="../tags/tag12.xml"/><Relationship Id="rId5" Type="http://schemas.openxmlformats.org/officeDocument/2006/relationships/tags" Target="../tags/tag13.xml"/><Relationship Id="rId6" Type="http://schemas.openxmlformats.org/officeDocument/2006/relationships/tags" Target="../tags/tag14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2.bin"/><Relationship Id="rId9" Type="http://schemas.openxmlformats.org/officeDocument/2006/relationships/image" Target="../media/image1.emf"/><Relationship Id="rId10" Type="http://schemas.openxmlformats.org/officeDocument/2006/relationships/image" Target="../media/image3.jpeg"/><Relationship Id="rId11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10.xml"/></Relationships>
</file>

<file path=ppt/slideLayouts/_rels/slideLayout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2.jpeg"/><Relationship Id="rId1" Type="http://schemas.openxmlformats.org/officeDocument/2006/relationships/vmlDrawing" Target="../drawings/vmlDrawing3.vml"/><Relationship Id="rId2" Type="http://schemas.openxmlformats.org/officeDocument/2006/relationships/tags" Target="../tags/tag15.xml"/><Relationship Id="rId3" Type="http://schemas.openxmlformats.org/officeDocument/2006/relationships/tags" Target="../tags/tag16.xml"/><Relationship Id="rId4" Type="http://schemas.openxmlformats.org/officeDocument/2006/relationships/tags" Target="../tags/tag17.xml"/><Relationship Id="rId5" Type="http://schemas.openxmlformats.org/officeDocument/2006/relationships/tags" Target="../tags/tag18.xml"/><Relationship Id="rId6" Type="http://schemas.openxmlformats.org/officeDocument/2006/relationships/tags" Target="../tags/tag19.xml"/><Relationship Id="rId7" Type="http://schemas.openxmlformats.org/officeDocument/2006/relationships/tags" Target="../tags/tag20.xml"/><Relationship Id="rId8" Type="http://schemas.openxmlformats.org/officeDocument/2006/relationships/tags" Target="../tags/tag21.xml"/><Relationship Id="rId9" Type="http://schemas.openxmlformats.org/officeDocument/2006/relationships/slideMaster" Target="../slideMasters/slideMaster2.xml"/><Relationship Id="rId10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4.bin"/><Relationship Id="rId12" Type="http://schemas.openxmlformats.org/officeDocument/2006/relationships/image" Target="../media/image1.emf"/><Relationship Id="rId13" Type="http://schemas.openxmlformats.org/officeDocument/2006/relationships/image" Target="../media/image2.jpeg"/><Relationship Id="rId14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2" Type="http://schemas.openxmlformats.org/officeDocument/2006/relationships/tags" Target="../tags/tag22.xml"/><Relationship Id="rId3" Type="http://schemas.openxmlformats.org/officeDocument/2006/relationships/tags" Target="../tags/tag23.xml"/><Relationship Id="rId4" Type="http://schemas.openxmlformats.org/officeDocument/2006/relationships/tags" Target="../tags/tag24.xml"/><Relationship Id="rId5" Type="http://schemas.openxmlformats.org/officeDocument/2006/relationships/tags" Target="../tags/tag25.xml"/><Relationship Id="rId6" Type="http://schemas.openxmlformats.org/officeDocument/2006/relationships/tags" Target="../tags/tag26.xml"/><Relationship Id="rId7" Type="http://schemas.openxmlformats.org/officeDocument/2006/relationships/tags" Target="../tags/tag27.xml"/><Relationship Id="rId8" Type="http://schemas.openxmlformats.org/officeDocument/2006/relationships/tags" Target="../tags/tag28.xml"/><Relationship Id="rId9" Type="http://schemas.openxmlformats.org/officeDocument/2006/relationships/tags" Target="../tags/tag29.xml"/><Relationship Id="rId10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.emf"/><Relationship Id="rId12" Type="http://schemas.openxmlformats.org/officeDocument/2006/relationships/image" Target="../media/image2.jpeg"/><Relationship Id="rId1" Type="http://schemas.openxmlformats.org/officeDocument/2006/relationships/vmlDrawing" Target="../drawings/vmlDrawing5.vml"/><Relationship Id="rId2" Type="http://schemas.openxmlformats.org/officeDocument/2006/relationships/tags" Target="../tags/tag30.xml"/><Relationship Id="rId3" Type="http://schemas.openxmlformats.org/officeDocument/2006/relationships/tags" Target="../tags/tag31.xml"/><Relationship Id="rId4" Type="http://schemas.openxmlformats.org/officeDocument/2006/relationships/tags" Target="../tags/tag32.xml"/><Relationship Id="rId5" Type="http://schemas.openxmlformats.org/officeDocument/2006/relationships/tags" Target="../tags/tag33.xml"/><Relationship Id="rId6" Type="http://schemas.openxmlformats.org/officeDocument/2006/relationships/tags" Target="../tags/tag34.xml"/><Relationship Id="rId7" Type="http://schemas.openxmlformats.org/officeDocument/2006/relationships/tags" Target="../tags/tag35.xml"/><Relationship Id="rId8" Type="http://schemas.openxmlformats.org/officeDocument/2006/relationships/tags" Target="../tags/tag36.xml"/><Relationship Id="rId9" Type="http://schemas.openxmlformats.org/officeDocument/2006/relationships/slideMaster" Target="../slideMasters/slideMaster2.xml"/><Relationship Id="rId10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970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660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274640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40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831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8" imgW="38100" imgH="38100" progId="TCLayout.ActiveDocument.1">
                  <p:embed/>
                </p:oleObj>
              </mc:Choice>
              <mc:Fallback>
                <p:oleObj name="think-cell Slide" r:id="rId8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85749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" y="1"/>
            <a:ext cx="12187680" cy="6859620"/>
            <a:chOff x="0" y="0"/>
            <a:chExt cx="5643" cy="4235"/>
          </a:xfrm>
        </p:grpSpPr>
        <p:sp>
          <p:nvSpPr>
            <p:cNvPr id="8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9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0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16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816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1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32" smtClean="0">
                <a:solidFill>
                  <a:srgbClr val="000000"/>
                </a:solidFill>
              </a:endParaRPr>
            </a:p>
          </p:txBody>
        </p:sp>
        <p:sp>
          <p:nvSpPr>
            <p:cNvPr id="12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32" smtClean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632" smtClean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1" y="6574546"/>
            <a:ext cx="2226740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675510" y="4528484"/>
            <a:ext cx="7291873" cy="502445"/>
          </a:xfrm>
          <a:prstGeom prst="rect">
            <a:avLst/>
          </a:prstGeom>
        </p:spPr>
        <p:txBody>
          <a:bodyPr/>
          <a:lstStyle>
            <a:lvl1pPr>
              <a:defRPr sz="3265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675510" y="5655825"/>
            <a:ext cx="7291873" cy="219820"/>
          </a:xfrm>
        </p:spPr>
        <p:txBody>
          <a:bodyPr/>
          <a:lstStyle>
            <a:lvl1pPr>
              <a:defRPr sz="1428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6717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10" imgW="38100" imgH="38100" progId="TCLayout.ActiveDocument.1">
                  <p:embed/>
                </p:oleObj>
              </mc:Choice>
              <mc:Fallback>
                <p:oleObj name="think-cell Slide" r:id="rId10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16" smtClean="0">
              <a:solidFill>
                <a:srgbClr val="000000"/>
              </a:solidFill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1986" y="54261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1986" y="6198769"/>
            <a:ext cx="11630453" cy="526418"/>
            <a:chOff x="75" y="3827"/>
            <a:chExt cx="5385" cy="32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4" name="Slide Number"/>
          <p:cNvSpPr txBox="1">
            <a:spLocks/>
          </p:cNvSpPr>
          <p:nvPr userDrawn="1"/>
        </p:nvSpPr>
        <p:spPr>
          <a:xfrm>
            <a:off x="11101307" y="6644193"/>
            <a:ext cx="285092" cy="155496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7CDD1B7F-DD15-4E3D-9FFE-B6730A4E0C3B}" type="slidenum">
              <a:rPr lang="en-US" sz="102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20" smtClean="0">
              <a:solidFill>
                <a:srgbClr val="00000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61987" y="234863"/>
            <a:ext cx="11725484" cy="376834"/>
          </a:xfrm>
        </p:spPr>
        <p:txBody>
          <a:bodyPr/>
          <a:lstStyle>
            <a:lvl1pPr>
              <a:defRPr sz="2449" b="1">
                <a:solidFill>
                  <a:srgbClr val="C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2144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11" imgW="38100" imgH="38100" progId="TCLayout.ActiveDocument.1">
                  <p:embed/>
                </p:oleObj>
              </mc:Choice>
              <mc:Fallback>
                <p:oleObj name="think-cell Slide" r:id="rId11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16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1986" y="54261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1986" y="6198769"/>
            <a:ext cx="11630453" cy="526418"/>
            <a:chOff x="75" y="3827"/>
            <a:chExt cx="5385" cy="32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aphicFrame>
        <p:nvGraphicFramePr>
          <p:cNvPr id="15" name="Object 1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14" imgW="38100" imgH="38100" progId="TCLayout.ActiveDocument.1">
                  <p:embed/>
                </p:oleObj>
              </mc:Choice>
              <mc:Fallback>
                <p:oleObj name="think-cell Slide" r:id="rId14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Slide Number"/>
          <p:cNvSpPr txBox="1">
            <a:spLocks/>
          </p:cNvSpPr>
          <p:nvPr userDrawn="1"/>
        </p:nvSpPr>
        <p:spPr>
          <a:xfrm>
            <a:off x="11101307" y="6644193"/>
            <a:ext cx="285092" cy="155496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1E06B3B-D633-4B92-BDA5-89F5EF145F23}" type="slidenum">
              <a:rPr lang="en-US" sz="102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2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7" y="234863"/>
            <a:ext cx="11725484" cy="37683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l" defTabSz="913429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lang="en-IN" sz="2449" b="1" dirty="0">
                <a:solidFill>
                  <a:srgbClr val="C00000"/>
                </a:solidFill>
                <a:latin typeface="+mj-lt"/>
                <a:ea typeface="+mj-ea"/>
                <a:cs typeface="ＭＳ Ｐゴシック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IN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130" y="1150018"/>
            <a:ext cx="9906497" cy="12561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43792535"/>
      </p:ext>
    </p:extLst>
  </p:cSld>
  <p:clrMapOvr>
    <a:masterClrMapping/>
  </p:clrMapOvr>
  <p:transition xmlns:p14="http://schemas.microsoft.com/office/powerpoint/2010/main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10" imgW="38100" imgH="38100" progId="TCLayout.ActiveDocument.1">
                  <p:embed/>
                </p:oleObj>
              </mc:Choice>
              <mc:Fallback>
                <p:oleObj name="think-cell Slide" r:id="rId10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3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16" smtClean="0">
              <a:solidFill>
                <a:srgbClr val="000000"/>
              </a:solidFill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1986" y="54261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161986" y="6198769"/>
            <a:ext cx="11630453" cy="526418"/>
            <a:chOff x="75" y="3827"/>
            <a:chExt cx="5385" cy="325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6" name="Slide Number"/>
          <p:cNvSpPr txBox="1">
            <a:spLocks/>
          </p:cNvSpPr>
          <p:nvPr userDrawn="1"/>
        </p:nvSpPr>
        <p:spPr>
          <a:xfrm>
            <a:off x="11101307" y="6644193"/>
            <a:ext cx="285092" cy="155496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7A4F0677-3652-4937-850B-76EF3975BCE7}" type="slidenum">
              <a:rPr lang="en-US" sz="102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20" smtClean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1680332"/>
          </a:xfrm>
        </p:spPr>
        <p:txBody>
          <a:bodyPr/>
          <a:lstStyle>
            <a:lvl1pPr>
              <a:defRPr sz="2755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1680332"/>
          </a:xfrm>
        </p:spPr>
        <p:txBody>
          <a:bodyPr/>
          <a:lstStyle>
            <a:lvl1pPr>
              <a:defRPr sz="2755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7" name="Date Placeholder 4"/>
          <p:cNvSpPr>
            <a:spLocks noGrp="1"/>
          </p:cNvSpPr>
          <p:nvPr>
            <p:ph type="dt" sz="half" idx="10"/>
          </p:nvPr>
        </p:nvSpPr>
        <p:spPr>
          <a:xfrm>
            <a:off x="609060" y="6355880"/>
            <a:ext cx="2844440" cy="366062"/>
          </a:xfrm>
          <a:prstGeom prst="rect">
            <a:avLst/>
          </a:prstGeom>
        </p:spPr>
        <p:txBody>
          <a:bodyPr lIns="89601" tIns="44802" rIns="89601" bIns="44802"/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04C4E74-4763-421D-85BE-509C927C5043}" type="datetimeFigureOut">
              <a:rPr lang="en-US" sz="1632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1/06/2016</a:t>
            </a:fld>
            <a:endParaRPr lang="en-US" sz="1632"/>
          </a:p>
        </p:txBody>
      </p:sp>
      <p:sp>
        <p:nvSpPr>
          <p:cNvPr id="1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6231" y="6355880"/>
            <a:ext cx="3859539" cy="366062"/>
          </a:xfrm>
          <a:prstGeom prst="rect">
            <a:avLst/>
          </a:prstGeom>
        </p:spPr>
        <p:txBody>
          <a:bodyPr lIns="89601" tIns="44802" rIns="89601" bIns="44802"/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32"/>
          </a:p>
        </p:txBody>
      </p:sp>
      <p:sp>
        <p:nvSpPr>
          <p:cNvPr id="19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8500" y="6355880"/>
            <a:ext cx="2844440" cy="366062"/>
          </a:xfrm>
          <a:prstGeom prst="rect">
            <a:avLst/>
          </a:prstGeom>
        </p:spPr>
        <p:txBody>
          <a:bodyPr vert="horz" wrap="square" lIns="89601" tIns="44802" rIns="89601" bIns="44802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6FEACE6-A3DE-42ED-B51A-6FC76E9D51C8}" type="slidenum">
              <a:rPr lang="en-US" sz="1632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632"/>
          </a:p>
        </p:txBody>
      </p:sp>
    </p:spTree>
    <p:extLst>
      <p:ext uri="{BB962C8B-B14F-4D97-AF65-F5344CB8AC3E}">
        <p14:creationId xmlns:p14="http://schemas.microsoft.com/office/powerpoint/2010/main" val="31111750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0920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539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5376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110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793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312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3660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5223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oleObject" Target="../embeddings/oleObject1.bin"/><Relationship Id="rId17" Type="http://schemas.openxmlformats.org/officeDocument/2006/relationships/image" Target="../media/image1.emf"/><Relationship Id="rId18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theme" Target="../theme/theme2.xml"/><Relationship Id="rId6" Type="http://schemas.openxmlformats.org/officeDocument/2006/relationships/vmlDrawing" Target="../drawings/vmlDrawing1.vml"/><Relationship Id="rId7" Type="http://schemas.openxmlformats.org/officeDocument/2006/relationships/tags" Target="../tags/tag1.xml"/><Relationship Id="rId8" Type="http://schemas.openxmlformats.org/officeDocument/2006/relationships/tags" Target="../tags/tag2.xml"/><Relationship Id="rId9" Type="http://schemas.openxmlformats.org/officeDocument/2006/relationships/tags" Target="../tags/tag3.xml"/><Relationship Id="rId10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B4D294-FF0E-4902-A534-F9CF89FE6B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1/06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C8B634-8C0C-4A9F-866D-C02A48E6513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86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16" imgW="38100" imgH="38100" progId="TCLayout.ActiveDocument.1">
                  <p:embed/>
                </p:oleObj>
              </mc:Choice>
              <mc:Fallback>
                <p:oleObj name="think-cell Slide" r:id="rId1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651" name="Picture 23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doc id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z="816" smtClean="0">
              <a:solidFill>
                <a:srgbClr val="000000"/>
              </a:solidFill>
            </a:endParaRPr>
          </a:p>
        </p:txBody>
      </p:sp>
      <p:sp>
        <p:nvSpPr>
          <p:cNvPr id="27653" name="Rectangle 28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613381" y="1248824"/>
            <a:ext cx="10487927" cy="125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7654" name="Title Placeholder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114471" y="260780"/>
            <a:ext cx="11725484" cy="375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31" name="McK 1. On-page track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1986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28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61986" y="54261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7657" name="McK Slide Element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61986" y="6198769"/>
            <a:ext cx="11630453" cy="526418"/>
            <a:chOff x="75" y="3827"/>
            <a:chExt cx="5385" cy="3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2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39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2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27658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27660" name="AutoShape 249"/>
            <p:cNvCxnSpPr>
              <a:cxnSpLocks noChangeShapeType="1"/>
              <a:stCxn id="1037" idx="4"/>
              <a:endCxn id="103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3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32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Slide Number"/>
          <p:cNvSpPr txBox="1">
            <a:spLocks/>
          </p:cNvSpPr>
          <p:nvPr userDrawn="1"/>
        </p:nvSpPr>
        <p:spPr>
          <a:xfrm>
            <a:off x="11101307" y="6644193"/>
            <a:ext cx="285092" cy="155496"/>
          </a:xfrm>
          <a:prstGeom prst="rect">
            <a:avLst/>
          </a:prstGeom>
        </p:spPr>
        <p:txBody>
          <a:bodyPr wrap="none" lIns="0" tIns="0" rIns="0" bIns="0" anchor="ctr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2E9F8797-4879-4D33-9522-1A69272F4F58}" type="slidenum">
              <a:rPr lang="en-US" sz="102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2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385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3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lang="en-US" sz="2449" b="1" dirty="0">
          <a:solidFill>
            <a:srgbClr val="C00000"/>
          </a:solidFill>
          <a:latin typeface="+mj-lt"/>
          <a:ea typeface="+mj-ea"/>
          <a:cs typeface="ＭＳ Ｐゴシック" charset="0"/>
        </a:defRPr>
      </a:lvl1pPr>
      <a:lvl2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2449" b="1">
          <a:solidFill>
            <a:srgbClr val="C00000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2449" b="1">
          <a:solidFill>
            <a:srgbClr val="C00000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2449" b="1">
          <a:solidFill>
            <a:srgbClr val="C00000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11906" rtl="0" eaLnBrk="0" fontAlgn="base" hangingPunct="0">
        <a:spcBef>
          <a:spcPct val="0"/>
        </a:spcBef>
        <a:spcAft>
          <a:spcPct val="0"/>
        </a:spcAft>
        <a:tabLst>
          <a:tab pos="273734" algn="l"/>
        </a:tabLst>
        <a:defRPr sz="2449" b="1">
          <a:solidFill>
            <a:srgbClr val="C00000"/>
          </a:solidFill>
          <a:latin typeface="Arial" charset="0"/>
          <a:ea typeface="ＭＳ Ｐゴシック" charset="0"/>
          <a:cs typeface="ＭＳ Ｐゴシック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348242" indent="-348242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ＭＳ Ｐゴシック" charset="0"/>
        </a:defRPr>
      </a:lvl1pPr>
      <a:lvl2pPr marL="195987" indent="-194367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+mn-lt"/>
          <a:ea typeface="ＭＳ Ｐゴシック" charset="0"/>
        </a:defRPr>
      </a:lvl2pPr>
      <a:lvl3pPr marL="464862" indent="-265635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+mn-lt"/>
          <a:ea typeface="ＭＳ Ｐゴシック" charset="0"/>
        </a:defRPr>
      </a:lvl3pPr>
      <a:lvl4pPr marL="625214" indent="-157114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+mn-lt"/>
          <a:ea typeface="ＭＳ Ｐゴシック" charset="0"/>
        </a:defRPr>
      </a:lvl4pPr>
      <a:lvl5pPr marL="762892" indent="-131198" algn="l" defTabSz="91190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+mn-lt"/>
          <a:ea typeface="ＭＳ Ｐゴシック" charset="0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Group 27"/>
          <p:cNvGrpSpPr/>
          <p:nvPr/>
        </p:nvGrpSpPr>
        <p:grpSpPr>
          <a:xfrm>
            <a:off x="1790163" y="553792"/>
            <a:ext cx="7276564" cy="6239813"/>
            <a:chOff x="1790163" y="553792"/>
            <a:chExt cx="7276564" cy="6239813"/>
          </a:xfrm>
        </p:grpSpPr>
        <p:sp>
          <p:nvSpPr>
            <p:cNvPr id="5" name="Oval 4"/>
            <p:cNvSpPr/>
            <p:nvPr/>
          </p:nvSpPr>
          <p:spPr>
            <a:xfrm>
              <a:off x="1790163" y="553792"/>
              <a:ext cx="7276564" cy="6239813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Oval 5"/>
            <p:cNvSpPr/>
            <p:nvPr/>
          </p:nvSpPr>
          <p:spPr>
            <a:xfrm>
              <a:off x="2966331" y="1553409"/>
              <a:ext cx="4975412" cy="4416305"/>
            </a:xfrm>
            <a:prstGeom prst="ellipse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Oval 6"/>
            <p:cNvSpPr/>
            <p:nvPr/>
          </p:nvSpPr>
          <p:spPr>
            <a:xfrm>
              <a:off x="4176567" y="2439449"/>
              <a:ext cx="2603839" cy="249473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TextBox 7"/>
            <p:cNvSpPr txBox="1"/>
            <p:nvPr/>
          </p:nvSpPr>
          <p:spPr>
            <a:xfrm>
              <a:off x="3220303" y="1400927"/>
              <a:ext cx="749539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 smtClean="0">
                  <a:solidFill>
                    <a:prstClr val="black"/>
                  </a:solidFill>
                </a:rPr>
                <a:t>Water</a:t>
              </a:r>
              <a:endParaRPr lang="en-US" sz="1300" b="1" dirty="0">
                <a:solidFill>
                  <a:prstClr val="black"/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812165" y="908857"/>
              <a:ext cx="1142999" cy="401587"/>
            </a:xfrm>
            <a:prstGeom prst="rect">
              <a:avLst/>
            </a:prstGeom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prstClr val="black"/>
                  </a:solidFill>
                </a:rPr>
                <a:t>SDH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163649" y="2460256"/>
              <a:ext cx="1033518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Sanitation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712926" y="5983723"/>
              <a:ext cx="1305546" cy="49244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Social Support Networks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548926" y="1842663"/>
              <a:ext cx="1617983" cy="29238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Health Work Forc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354463" y="3113522"/>
              <a:ext cx="654016" cy="301190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</a:rPr>
                <a:t>HMI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105400" y="2614924"/>
              <a:ext cx="614286" cy="29238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Tax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648200" y="3029197"/>
              <a:ext cx="1613647" cy="736242"/>
            </a:xfrm>
            <a:prstGeom prst="rect">
              <a:avLst/>
            </a:prstGeom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prstClr val="black"/>
                  </a:solidFill>
                </a:rPr>
                <a:t>HEALTH FINANCI</a:t>
              </a:r>
              <a:r>
                <a:rPr lang="en-US" sz="2000" b="1" dirty="0">
                  <a:solidFill>
                    <a:prstClr val="black"/>
                  </a:solidFill>
                </a:rPr>
                <a:t>NG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800600" y="3926419"/>
              <a:ext cx="1352214" cy="702777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Social Insurance</a:t>
              </a:r>
            </a:p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+</a:t>
              </a:r>
            </a:p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Other Insurance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780407" y="3156983"/>
              <a:ext cx="1161336" cy="29238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Infrastructure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629400" y="4265018"/>
              <a:ext cx="1083443" cy="30777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prstClr val="black"/>
                  </a:solidFill>
                </a:rPr>
                <a:t>Governance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196851" y="4097856"/>
              <a:ext cx="1045204" cy="492443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300" b="1" dirty="0">
                  <a:solidFill>
                    <a:prstClr val="black"/>
                  </a:solidFill>
                </a:rPr>
                <a:t>Community Engagement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15888" y="5075269"/>
              <a:ext cx="1029324" cy="702777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</a:rPr>
                <a:t>Drugs Vaccines Technologies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644719" y="6058131"/>
              <a:ext cx="1267496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Social Stability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101957" y="3877844"/>
              <a:ext cx="839999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Income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552632" y="5120404"/>
              <a:ext cx="911784" cy="40011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prstClr val="black"/>
                  </a:solidFill>
                </a:rPr>
                <a:t>Physical Environment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528502" y="2207948"/>
              <a:ext cx="1092463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Occupation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718888" y="1445833"/>
              <a:ext cx="914914" cy="29238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Education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981076" y="3821210"/>
              <a:ext cx="872900" cy="492443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>
                  <a:solidFill>
                    <a:prstClr val="black"/>
                  </a:solidFill>
                </a:rPr>
                <a:t>Food Systems</a:t>
              </a:r>
            </a:p>
          </p:txBody>
        </p:sp>
      </p:grpSp>
      <p:sp>
        <p:nvSpPr>
          <p:cNvPr id="45" name="Title 44"/>
          <p:cNvSpPr>
            <a:spLocks noGrp="1"/>
          </p:cNvSpPr>
          <p:nvPr>
            <p:ph type="title"/>
          </p:nvPr>
        </p:nvSpPr>
        <p:spPr>
          <a:xfrm>
            <a:off x="1608542" y="-81009"/>
            <a:ext cx="8229600" cy="712073"/>
          </a:xfrm>
        </p:spPr>
        <p:txBody>
          <a:bodyPr>
            <a:normAutofit/>
          </a:bodyPr>
          <a:lstStyle/>
          <a:p>
            <a:r>
              <a:rPr lang="en-US" sz="3500" b="1" dirty="0" smtClean="0"/>
              <a:t>Vision For Health Assurance</a:t>
            </a:r>
            <a:endParaRPr lang="en-US" sz="35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6338392" y="1196332"/>
            <a:ext cx="4039111" cy="2639495"/>
            <a:chOff x="6343742" y="1374872"/>
            <a:chExt cx="4039111" cy="2639495"/>
          </a:xfrm>
        </p:grpSpPr>
        <p:cxnSp>
          <p:nvCxnSpPr>
            <p:cNvPr id="20" name="Straight Arrow Connector 19"/>
            <p:cNvCxnSpPr/>
            <p:nvPr/>
          </p:nvCxnSpPr>
          <p:spPr>
            <a:xfrm flipV="1">
              <a:off x="6343742" y="3764162"/>
              <a:ext cx="2946715" cy="19373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Arrow Connector 28"/>
            <p:cNvCxnSpPr/>
            <p:nvPr/>
          </p:nvCxnSpPr>
          <p:spPr>
            <a:xfrm>
              <a:off x="7112471" y="2837163"/>
              <a:ext cx="2091244" cy="27446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9298735" y="2674677"/>
              <a:ext cx="741220" cy="36933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prstClr val="black"/>
                  </a:solidFill>
                </a:rPr>
                <a:t>UHC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9359271" y="3552702"/>
              <a:ext cx="1023582" cy="46166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prstClr val="black"/>
                  </a:solidFill>
                </a:rPr>
                <a:t>FINANCIAL PROTECTION</a:t>
              </a:r>
            </a:p>
          </p:txBody>
        </p:sp>
        <p:cxnSp>
          <p:nvCxnSpPr>
            <p:cNvPr id="4" name="Straight Connector 3"/>
            <p:cNvCxnSpPr/>
            <p:nvPr/>
          </p:nvCxnSpPr>
          <p:spPr>
            <a:xfrm flipV="1">
              <a:off x="6372801" y="1641803"/>
              <a:ext cx="1612787" cy="2140973"/>
            </a:xfrm>
            <a:prstGeom prst="line">
              <a:avLst/>
            </a:prstGeom>
            <a:ln w="285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>
              <a:off x="7999302" y="1646781"/>
              <a:ext cx="919173" cy="0"/>
            </a:xfrm>
            <a:prstGeom prst="straightConnector1">
              <a:avLst/>
            </a:prstGeom>
            <a:ln w="28575"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8957607" y="1374872"/>
              <a:ext cx="1371085" cy="6463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prstClr val="black"/>
                  </a:solidFill>
                </a:rPr>
                <a:t>HEALTH ASSURANCE</a:t>
              </a:r>
            </a:p>
          </p:txBody>
        </p:sp>
      </p:grpSp>
      <p:sp>
        <p:nvSpPr>
          <p:cNvPr id="40" name="TextBox 39"/>
          <p:cNvSpPr txBox="1"/>
          <p:nvPr/>
        </p:nvSpPr>
        <p:spPr>
          <a:xfrm>
            <a:off x="7633802" y="4985703"/>
            <a:ext cx="819735" cy="29238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300" b="1" dirty="0">
                <a:solidFill>
                  <a:prstClr val="black"/>
                </a:solidFill>
              </a:rPr>
              <a:t>Gender</a:t>
            </a:r>
          </a:p>
        </p:txBody>
      </p:sp>
    </p:spTree>
    <p:extLst>
      <p:ext uri="{BB962C8B-B14F-4D97-AF65-F5344CB8AC3E}">
        <p14:creationId xmlns:p14="http://schemas.microsoft.com/office/powerpoint/2010/main" val="17638429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lz9.it.k2VHsjmdKkN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62q8zCQUKBYeZFEIKd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4S7IHQ90GBTSdY4T5W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TKNOpMd0WfMa.FxHWq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_sQoFq00KVJ4zvRwsX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_sQoFq00KVJ4zvRwsXb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_sQoFq00KVJ4zvRwsX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_sQoFq00KVJ4zvRwsX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2sz03.bE28AgEpBKd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heme/theme1.xml><?xml version="1.0" encoding="utf-8"?>
<a:theme xmlns:a="http://schemas.openxmlformats.org/drawingml/2006/main" name="1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3_Blank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ADB7B2"/>
      </a:accent1>
      <a:accent2>
        <a:srgbClr val="EBE9C3"/>
      </a:accent2>
      <a:accent3>
        <a:srgbClr val="FBA61A"/>
      </a:accent3>
      <a:accent4>
        <a:srgbClr val="41954F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7</TotalTime>
  <Words>44</Words>
  <Application>Microsoft Macintosh PowerPoint</Application>
  <PresentationFormat>Custom</PresentationFormat>
  <Paragraphs>26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19_Office Theme</vt:lpstr>
      <vt:lpstr>13_Blank</vt:lpstr>
      <vt:lpstr>think-cell Slide</vt:lpstr>
      <vt:lpstr>Vision For Health Assuranc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nu Mathur</dc:creator>
  <cp:lastModifiedBy>Lara Brearley</cp:lastModifiedBy>
  <cp:revision>57</cp:revision>
  <cp:lastPrinted>2016-06-03T05:09:21Z</cp:lastPrinted>
  <dcterms:created xsi:type="dcterms:W3CDTF">2015-11-09T09:48:01Z</dcterms:created>
  <dcterms:modified xsi:type="dcterms:W3CDTF">2016-06-21T11:13:58Z</dcterms:modified>
</cp:coreProperties>
</file>